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6"/>
  </p:notesMasterIdLst>
  <p:sldIdLst>
    <p:sldId id="256" r:id="rId2"/>
    <p:sldId id="266" r:id="rId3"/>
    <p:sldId id="267" r:id="rId4"/>
    <p:sldId id="7073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00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94458" autoAdjust="0"/>
  </p:normalViewPr>
  <p:slideViewPr>
    <p:cSldViewPr snapToGrid="0">
      <p:cViewPr>
        <p:scale>
          <a:sx n="50" d="100"/>
          <a:sy n="50" d="100"/>
        </p:scale>
        <p:origin x="2656" y="17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1" d="100"/>
        <a:sy n="111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27880-D3CA-419F-B5DD-24D1D2596FE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E0AE26-FCE4-4A88-8C25-8688278F7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530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15533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30231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76701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898091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9AEF0D-B169-4C0B-84B8-825849D6A3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9379D2-FB6E-4FCC-A7A8-574B35AF3C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54268C-BB11-42CB-A372-BCA549C84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556373-5ADB-4E52-A4E0-3C3E02039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91EBC-54EE-468E-ADDF-CCB8970B3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091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B5521-F765-414A-B7D2-5464FA588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CC3310-7478-464F-B94D-5939A52F15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327BA9-37EE-42E4-9750-B976B7E84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93F53C-E0BC-474E-8C8F-64D5CA80B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581F29-D65E-4FEC-A4CD-D1CDBBDF9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461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75AD28-84E7-4114-8BDF-5D03E9F9E2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3C4D98-19C9-4928-A101-294C197A5B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5BFD90-A837-4ED0-9171-E6F94D89D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48ECD-107D-4626-9626-5E4D006B0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301235-3E32-4A63-938D-3E34F40C5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835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2A1D8-CF59-483B-8DFE-A0400642E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9749F7-3DEB-40E2-A784-8B90E1B46C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AB5298-08CD-40D2-A030-606D80460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F9B4D-B795-4AAD-AA60-60850B45E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47C400-B83A-4D5D-9BFD-E2BBF93A4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681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5C8B16-E3EE-4264-A2D3-6AA45E192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716EC7-2A3A-4641-9B8C-A1369E09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F2896C-7A15-4645-9E25-773E671EF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8EC751-A690-4220-8FF3-984459F53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3261A-C071-4956-954F-56E6ED24D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519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76E70-D142-44A3-AD40-EDD18B689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C730F3-727A-4A47-A87E-431C317CF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E9F459-CD26-4AB6-A52D-2CB8466D1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456FC4-076F-4E53-B96A-DCDEF99E5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89802F-1F2D-4211-A002-2D73AA0EB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9AF45-CB7C-41CE-8870-76F6DFD54B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749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3C4DF-B1BA-4448-A03E-12BC999D3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15C542-6B1D-43B0-A648-A5D56A0A92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4F7814-FCB1-4067-AC46-A7F4EB1026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474C77-56F3-4ABF-82A0-5E3429B2B6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F5FFA0-3A26-48BD-AED3-3D0916482D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C1BCF7-BCFD-4D30-BDD9-992ABCA7D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048BDD5-5C46-4FF7-9FCD-6EE826FE9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E2665C-52C4-4DA7-8A8E-2478AEA82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904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26C58-82FF-43E8-BA92-252E02D1F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FF335E-9E4B-4427-9F4F-50C27AFF4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F6776D-1FF4-452B-B5B1-FBD7F68D9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648418-B879-4167-8AE7-D83FEAF80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0674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30B6AE-1231-4097-8DF4-50588DA96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BC7E0C-11F7-4FFF-9F68-AD9B13D60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775C9D-3E8B-4A20-B0F5-741D3F1A1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661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9CC4A-3157-486A-B4D3-BB774F3F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68A400-788C-4B91-894D-9E8EFD3FBE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77125A-BD1F-4F0D-B705-774D850BA1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E72A1A-068D-4750-8E96-DE3CA20C0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7CB592-61CF-4759-A476-78EFC6E76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29E6CD-8AE9-44F7-900B-8A87361C3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6330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BF464-ED0A-4DF3-B50C-8816E3237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3B951B5-F067-4DC9-819A-8102E47597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3A407D-DCC5-4D76-AD9A-6FB3E7DE92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61BFD1-535B-4FEE-9A28-8AC89D426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A86D12-2BD7-4713-975E-EFD9AAD04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69A380-68EE-45E1-99BD-8C8377E62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335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54654C-74BB-4C63-8CF3-39346ACFC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72798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16" imgW="396" imgH="396" progId="TCLayout.ActiveDocument.1">
                  <p:embed/>
                </p:oleObj>
              </mc:Choice>
              <mc:Fallback>
                <p:oleObj name="think-cell Slide" r:id="rId1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090A2A-9DD3-432B-8185-B61D2132CAC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2A6A3-8D1A-4BE6-B2B6-23808A670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4ECA08-20CF-4B01-8991-DC33211A5D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81B6B8-C11D-48A0-B750-FA4DAEC9DF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F9DB99-C41E-49D4-A1CA-41F39D8C6F49}" type="datetimeFigureOut">
              <a:rPr lang="en-US" smtClean="0"/>
              <a:t>12/6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4B63B-AEF0-4FCE-9E80-91C9F10EF9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5FF428-259B-465F-BF98-96535A66EA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814819-FDEB-4E61-A33F-18685BB404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81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C1FF4-D000-4E19-9632-FFA193280D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C3F835-CA0C-4E1E-BD75-A61DC8295B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50AC02-1477-440C-AB1B-FE7267C44D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4DBFB8B-41EE-4141-B6B5-28E9B8E6DD6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0A0512-40D6-4646-A0DC-3F551A0E4DAD}"/>
              </a:ext>
            </a:extLst>
          </p:cNvPr>
          <p:cNvSpPr/>
          <p:nvPr/>
        </p:nvSpPr>
        <p:spPr>
          <a:xfrm>
            <a:off x="10539662" y="5092515"/>
            <a:ext cx="1652337" cy="97155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196" name="Picture 4" descr="Bildergebnis für MAN logo">
            <a:extLst>
              <a:ext uri="{FF2B5EF4-FFF2-40B4-BE49-F238E27FC236}">
                <a16:creationId xmlns:a16="http://schemas.microsoft.com/office/drawing/2014/main" id="{DCE422FB-AFB3-4B43-AE3A-4D9A9DA75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3382" y="5260581"/>
            <a:ext cx="1144897" cy="635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5459390-93EF-40F5-B3F7-2CF99F745BCE}"/>
              </a:ext>
            </a:extLst>
          </p:cNvPr>
          <p:cNvSpPr/>
          <p:nvPr/>
        </p:nvSpPr>
        <p:spPr>
          <a:xfrm>
            <a:off x="10539662" y="5092515"/>
            <a:ext cx="76201" cy="971550"/>
          </a:xfrm>
          <a:prstGeom prst="rect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20F55F3-6768-4817-A62D-138D9896BEAA}"/>
              </a:ext>
            </a:extLst>
          </p:cNvPr>
          <p:cNvSpPr/>
          <p:nvPr/>
        </p:nvSpPr>
        <p:spPr>
          <a:xfrm>
            <a:off x="6096001" y="1303249"/>
            <a:ext cx="6095998" cy="86665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&lt;</a:t>
            </a:r>
            <a:r>
              <a:rPr lang="en-US" sz="4000" b="1" dirty="0">
                <a:latin typeface="Arial Narrow" panose="020B0606020202030204" pitchFamily="34" charset="0"/>
              </a:rPr>
              <a:t>/ CODING </a:t>
            </a:r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THE NEW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E5EA9B-98FA-41D0-8469-FECE4259AE51}"/>
              </a:ext>
            </a:extLst>
          </p:cNvPr>
          <p:cNvSpPr/>
          <p:nvPr/>
        </p:nvSpPr>
        <p:spPr>
          <a:xfrm>
            <a:off x="9047747" y="6149076"/>
            <a:ext cx="3144253" cy="56548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pPr algn="r"/>
            <a:r>
              <a:rPr lang="en-US" b="1" dirty="0">
                <a:solidFill>
                  <a:schemeClr val="bg1"/>
                </a:solidFill>
                <a:latin typeface="Arial Narrow" panose="020B0606020202030204" pitchFamily="34" charset="0"/>
              </a:rPr>
              <a:t>MAN Hackathon - 12/2019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464B0C-F496-43B3-95A3-C44BF6FA811D}"/>
              </a:ext>
            </a:extLst>
          </p:cNvPr>
          <p:cNvSpPr/>
          <p:nvPr/>
        </p:nvSpPr>
        <p:spPr>
          <a:xfrm>
            <a:off x="1524000" y="218299"/>
            <a:ext cx="10668001" cy="86665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&lt;</a:t>
            </a:r>
            <a:r>
              <a:rPr lang="en-US" sz="4000" b="1" dirty="0">
                <a:latin typeface="Arial Narrow" panose="020B0606020202030204" pitchFamily="34" charset="0"/>
              </a:rPr>
              <a:t>/ MAN </a:t>
            </a:r>
            <a:r>
              <a:rPr lang="en-US" sz="40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DigitalServices</a:t>
            </a:r>
            <a:r>
              <a:rPr lang="en-US" sz="40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Predictive Tire Breakdown&gt;</a:t>
            </a:r>
          </a:p>
        </p:txBody>
      </p:sp>
    </p:spTree>
    <p:extLst>
      <p:ext uri="{BB962C8B-B14F-4D97-AF65-F5344CB8AC3E}">
        <p14:creationId xmlns:p14="http://schemas.microsoft.com/office/powerpoint/2010/main" val="10862829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21930EA9-93F5-41B7-80C0-55BA154B1C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90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6" imgW="396" imgH="396" progId="TCLayout.ActiveDocument.1">
                  <p:embed/>
                </p:oleObj>
              </mc:Choice>
              <mc:Fallback>
                <p:oleObj name="think-cell Slide" r:id="rId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CC699C6D-DFB0-45BC-AABE-05105EC3FF9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706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8" imgW="396" imgH="396" progId="TCLayout.ActiveDocument.1">
                  <p:embed/>
                </p:oleObj>
              </mc:Choice>
              <mc:Fallback>
                <p:oleObj name="think-cell Slide" r:id="rId8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2D36BEA-14CE-4CB3-83E2-B07F194EEC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3F3489-69A8-46B9-9A19-C959D7005DBF}"/>
              </a:ext>
            </a:extLst>
          </p:cNvPr>
          <p:cNvSpPr/>
          <p:nvPr/>
        </p:nvSpPr>
        <p:spPr>
          <a:xfrm>
            <a:off x="368300" y="1303249"/>
            <a:ext cx="11823700" cy="14020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Problem of MAN’s customers: </a:t>
            </a:r>
          </a:p>
          <a:p>
            <a:pPr algn="r"/>
            <a:r>
              <a:rPr lang="en-US" sz="4000" b="1" dirty="0">
                <a:solidFill>
                  <a:schemeClr val="bg1"/>
                </a:solidFill>
                <a:latin typeface="Arial Narrow" panose="020B0606020202030204" pitchFamily="34" charset="0"/>
              </a:rPr>
              <a:t>Downtime due truck failur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AB4689-2A7E-48B8-98D6-994F9A4CFD1A}"/>
              </a:ext>
            </a:extLst>
          </p:cNvPr>
          <p:cNvSpPr/>
          <p:nvPr/>
        </p:nvSpPr>
        <p:spPr>
          <a:xfrm>
            <a:off x="11277598" y="6076236"/>
            <a:ext cx="914401" cy="4778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4" descr="Bildergebnis für MAN logo">
            <a:extLst>
              <a:ext uri="{FF2B5EF4-FFF2-40B4-BE49-F238E27FC236}">
                <a16:creationId xmlns:a16="http://schemas.microsoft.com/office/drawing/2014/main" id="{2F2A93E2-BDB0-4875-831C-831AAA49F4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8006" y="6139338"/>
            <a:ext cx="633584" cy="351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981D63-634F-4D03-932D-005DD5AF3A93}"/>
              </a:ext>
            </a:extLst>
          </p:cNvPr>
          <p:cNvSpPr/>
          <p:nvPr/>
        </p:nvSpPr>
        <p:spPr>
          <a:xfrm>
            <a:off x="11277598" y="6076236"/>
            <a:ext cx="45719" cy="477842"/>
          </a:xfrm>
          <a:prstGeom prst="rect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126B03-2F3A-4952-8C4F-5496599B021B}"/>
              </a:ext>
            </a:extLst>
          </p:cNvPr>
          <p:cNvSpPr/>
          <p:nvPr/>
        </p:nvSpPr>
        <p:spPr>
          <a:xfrm>
            <a:off x="6512826" y="4671986"/>
            <a:ext cx="526879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maintenance activities on defect trucks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 fleet uptime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extra repair costs and delays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customer orders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4C35459-24B6-42E0-8956-350243360333}"/>
              </a:ext>
            </a:extLst>
          </p:cNvPr>
          <p:cNvGrpSpPr/>
          <p:nvPr/>
        </p:nvGrpSpPr>
        <p:grpSpPr>
          <a:xfrm>
            <a:off x="1137127" y="3519821"/>
            <a:ext cx="3641987" cy="2939970"/>
            <a:chOff x="1117538" y="2957384"/>
            <a:chExt cx="3641987" cy="293997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8D12E91-3211-4A98-9FA9-706722B2D46A}"/>
                </a:ext>
              </a:extLst>
            </p:cNvPr>
            <p:cNvSpPr/>
            <p:nvPr/>
          </p:nvSpPr>
          <p:spPr>
            <a:xfrm>
              <a:off x="1117538" y="3212028"/>
              <a:ext cx="3090440" cy="636607"/>
            </a:xfrm>
            <a:prstGeom prst="rect">
              <a:avLst/>
            </a:prstGeom>
            <a:solidFill>
              <a:srgbClr val="E40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Tire blast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339C2E8-1BA2-43E0-BF57-45DD7D07F941}"/>
                </a:ext>
              </a:extLst>
            </p:cNvPr>
            <p:cNvSpPr/>
            <p:nvPr/>
          </p:nvSpPr>
          <p:spPr>
            <a:xfrm>
              <a:off x="1117539" y="4069278"/>
              <a:ext cx="2469394" cy="636607"/>
            </a:xfrm>
            <a:prstGeom prst="rect">
              <a:avLst/>
            </a:prstGeom>
            <a:solidFill>
              <a:srgbClr val="E40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Brake abrasion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E308503-2E52-4D08-AEB6-A7B65AFFF0B8}"/>
                </a:ext>
              </a:extLst>
            </p:cNvPr>
            <p:cNvSpPr/>
            <p:nvPr/>
          </p:nvSpPr>
          <p:spPr>
            <a:xfrm>
              <a:off x="1117539" y="4926527"/>
              <a:ext cx="1907495" cy="636607"/>
            </a:xfrm>
            <a:prstGeom prst="rect">
              <a:avLst/>
            </a:prstGeom>
            <a:solidFill>
              <a:srgbClr val="E40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Fuel tank issues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72C513C-61B7-499A-BDCA-8030AA3AB3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7538" y="2957384"/>
              <a:ext cx="11575" cy="293997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2D7C209-CFCC-4014-A6E8-D05FF09CD5DC}"/>
                </a:ext>
              </a:extLst>
            </p:cNvPr>
            <p:cNvSpPr txBox="1"/>
            <p:nvPr/>
          </p:nvSpPr>
          <p:spPr>
            <a:xfrm>
              <a:off x="4284963" y="3345665"/>
              <a:ext cx="474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C6C53BD-FCB5-4824-ACA5-FB5CF86CC92E}"/>
                </a:ext>
              </a:extLst>
            </p:cNvPr>
            <p:cNvSpPr txBox="1"/>
            <p:nvPr/>
          </p:nvSpPr>
          <p:spPr>
            <a:xfrm>
              <a:off x="3586933" y="4202914"/>
              <a:ext cx="474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2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90AF48F-5567-42CB-905A-9C1F08DD107A}"/>
                </a:ext>
              </a:extLst>
            </p:cNvPr>
            <p:cNvSpPr txBox="1"/>
            <p:nvPr/>
          </p:nvSpPr>
          <p:spPr>
            <a:xfrm>
              <a:off x="3025034" y="5060164"/>
              <a:ext cx="474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3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89971FF0-4972-456D-A0FB-9B931457FD08}"/>
              </a:ext>
            </a:extLst>
          </p:cNvPr>
          <p:cNvSpPr/>
          <p:nvPr/>
        </p:nvSpPr>
        <p:spPr>
          <a:xfrm>
            <a:off x="1055432" y="3046497"/>
            <a:ext cx="63442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3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s of truck failures</a:t>
            </a:r>
          </a:p>
        </p:txBody>
      </p:sp>
      <p:sp>
        <p:nvSpPr>
          <p:cNvPr id="7" name="Lightning Bolt 6">
            <a:extLst>
              <a:ext uri="{FF2B5EF4-FFF2-40B4-BE49-F238E27FC236}">
                <a16:creationId xmlns:a16="http://schemas.microsoft.com/office/drawing/2014/main" id="{F71AD043-3285-4042-91AC-FE1CBF79F9D9}"/>
              </a:ext>
            </a:extLst>
          </p:cNvPr>
          <p:cNvSpPr/>
          <p:nvPr/>
        </p:nvSpPr>
        <p:spPr>
          <a:xfrm>
            <a:off x="5858719" y="4179866"/>
            <a:ext cx="474562" cy="457200"/>
          </a:xfrm>
          <a:prstGeom prst="lightningBolt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30254A12-9AC5-43A8-929A-8F5AF2010D30}"/>
              </a:ext>
            </a:extLst>
          </p:cNvPr>
          <p:cNvSpPr/>
          <p:nvPr/>
        </p:nvSpPr>
        <p:spPr>
          <a:xfrm>
            <a:off x="5225859" y="4447047"/>
            <a:ext cx="314754" cy="636607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5752D8-0439-4D8A-A2BA-81402B8D3707}"/>
              </a:ext>
            </a:extLst>
          </p:cNvPr>
          <p:cNvSpPr/>
          <p:nvPr/>
        </p:nvSpPr>
        <p:spPr>
          <a:xfrm>
            <a:off x="6064342" y="4376896"/>
            <a:ext cx="5694131" cy="1546155"/>
          </a:xfrm>
          <a:prstGeom prst="rect">
            <a:avLst/>
          </a:prstGeom>
          <a:noFill/>
          <a:ln w="12700">
            <a:solidFill>
              <a:srgbClr val="E4004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Picture 2" descr="Bildergebnis für fleet manager">
            <a:extLst>
              <a:ext uri="{FF2B5EF4-FFF2-40B4-BE49-F238E27FC236}">
                <a16:creationId xmlns:a16="http://schemas.microsoft.com/office/drawing/2014/main" id="{3A7446CA-4891-4659-8BA5-58DC1FEA1C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96000" y="3155334"/>
            <a:ext cx="1303701" cy="89498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Bildergebnis für dispatcher">
            <a:extLst>
              <a:ext uri="{FF2B5EF4-FFF2-40B4-BE49-F238E27FC236}">
                <a16:creationId xmlns:a16="http://schemas.microsoft.com/office/drawing/2014/main" id="{FFFBEA9E-FAE9-45F8-9FD7-1D8ED3A8D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3022" y="3177990"/>
            <a:ext cx="1303701" cy="89498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5AEA88F-D9DD-487E-BAB7-948A77FC34C4}"/>
              </a:ext>
            </a:extLst>
          </p:cNvPr>
          <p:cNvSpPr/>
          <p:nvPr/>
        </p:nvSpPr>
        <p:spPr>
          <a:xfrm>
            <a:off x="7399701" y="3204131"/>
            <a:ext cx="1303701" cy="318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r>
              <a:rPr lang="en-US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Fleet Manager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8C5C83-5438-4CC8-BF4E-FB1F87866A1E}"/>
              </a:ext>
            </a:extLst>
          </p:cNvPr>
          <p:cNvSpPr/>
          <p:nvPr/>
        </p:nvSpPr>
        <p:spPr>
          <a:xfrm>
            <a:off x="9265894" y="3800922"/>
            <a:ext cx="1303701" cy="3183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r>
              <a:rPr lang="en-US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Dispatcher</a:t>
            </a:r>
          </a:p>
        </p:txBody>
      </p:sp>
    </p:spTree>
    <p:extLst>
      <p:ext uri="{BB962C8B-B14F-4D97-AF65-F5344CB8AC3E}">
        <p14:creationId xmlns:p14="http://schemas.microsoft.com/office/powerpoint/2010/main" val="213827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399D6C-2838-452D-8EC0-E16393C4C5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887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2D36BEA-14CE-4CB3-83E2-B07F194EEC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3F3489-69A8-46B9-9A19-C959D7005DBF}"/>
              </a:ext>
            </a:extLst>
          </p:cNvPr>
          <p:cNvSpPr/>
          <p:nvPr/>
        </p:nvSpPr>
        <p:spPr>
          <a:xfrm>
            <a:off x="1106906" y="1303249"/>
            <a:ext cx="11085094" cy="14020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Our Solution:</a:t>
            </a:r>
          </a:p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 </a:t>
            </a:r>
            <a:r>
              <a:rPr lang="en-US" sz="4000" b="1" dirty="0">
                <a:solidFill>
                  <a:schemeClr val="bg1"/>
                </a:solidFill>
                <a:latin typeface="Arial Narrow" panose="020B0606020202030204" pitchFamily="34" charset="0"/>
              </a:rPr>
              <a:t>MAN Predictive Tire Breakdow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EFA3B3-42F0-408A-8511-D19130BEB573}"/>
              </a:ext>
            </a:extLst>
          </p:cNvPr>
          <p:cNvSpPr/>
          <p:nvPr/>
        </p:nvSpPr>
        <p:spPr>
          <a:xfrm>
            <a:off x="0" y="2705347"/>
            <a:ext cx="12280900" cy="41526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DA4244-BC3E-4A45-ACDA-4EFB51F4247B}"/>
              </a:ext>
            </a:extLst>
          </p:cNvPr>
          <p:cNvSpPr/>
          <p:nvPr/>
        </p:nvSpPr>
        <p:spPr>
          <a:xfrm>
            <a:off x="4914901" y="3482392"/>
            <a:ext cx="7366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service offering that enables </a:t>
            </a:r>
            <a:r>
              <a:rPr lang="en-US" sz="2400" b="1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time notifications of tire breakdown predictions </a:t>
            </a:r>
            <a:r>
              <a:rPr lang="en-US" sz="2400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providing suitable </a:t>
            </a:r>
            <a:r>
              <a:rPr lang="en-US" sz="2400" b="1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s for countermeasures. </a:t>
            </a:r>
          </a:p>
          <a:p>
            <a:endParaRPr lang="en-US" sz="2400" b="1" dirty="0">
              <a:solidFill>
                <a:srgbClr val="E400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stakeholders</a:t>
            </a:r>
            <a:r>
              <a:rPr lang="en-US" sz="2400" b="1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informed up-to-date based on the interconnectivity of the service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AB4689-2A7E-48B8-98D6-994F9A4CFD1A}"/>
              </a:ext>
            </a:extLst>
          </p:cNvPr>
          <p:cNvSpPr/>
          <p:nvPr/>
        </p:nvSpPr>
        <p:spPr>
          <a:xfrm>
            <a:off x="11277598" y="6076236"/>
            <a:ext cx="914401" cy="4778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4" descr="Bildergebnis für MAN logo">
            <a:extLst>
              <a:ext uri="{FF2B5EF4-FFF2-40B4-BE49-F238E27FC236}">
                <a16:creationId xmlns:a16="http://schemas.microsoft.com/office/drawing/2014/main" id="{2F2A93E2-BDB0-4875-831C-831AAA49F4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8006" y="6139338"/>
            <a:ext cx="633584" cy="351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981D63-634F-4D03-932D-005DD5AF3A93}"/>
              </a:ext>
            </a:extLst>
          </p:cNvPr>
          <p:cNvSpPr/>
          <p:nvPr/>
        </p:nvSpPr>
        <p:spPr>
          <a:xfrm>
            <a:off x="11277598" y="6076236"/>
            <a:ext cx="45719" cy="477842"/>
          </a:xfrm>
          <a:prstGeom prst="rect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33B542F-3FA6-4CEA-BFAF-250C3F69C9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1545" y="3627510"/>
            <a:ext cx="3870956" cy="201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608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69C160-DA8A-4E5A-9650-B26A183496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192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2D36BEA-14CE-4CB3-83E2-B07F194EEC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741F40B-7259-4AA5-B683-E4D0D83B7449}"/>
              </a:ext>
            </a:extLst>
          </p:cNvPr>
          <p:cNvSpPr/>
          <p:nvPr/>
        </p:nvSpPr>
        <p:spPr>
          <a:xfrm>
            <a:off x="0" y="2705347"/>
            <a:ext cx="12280900" cy="41526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3F3489-69A8-46B9-9A19-C959D7005DBF}"/>
              </a:ext>
            </a:extLst>
          </p:cNvPr>
          <p:cNvSpPr/>
          <p:nvPr/>
        </p:nvSpPr>
        <p:spPr>
          <a:xfrm>
            <a:off x="1106906" y="1303249"/>
            <a:ext cx="11085094" cy="14020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2000" rtlCol="0" anchor="ctr"/>
          <a:lstStyle/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Our Vision:</a:t>
            </a:r>
          </a:p>
          <a:p>
            <a:pPr algn="r"/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 New </a:t>
            </a:r>
            <a:r>
              <a:rPr lang="en-US" sz="4000" b="1" dirty="0">
                <a:solidFill>
                  <a:schemeClr val="bg1"/>
                </a:solidFill>
                <a:latin typeface="Arial Narrow" panose="020B0606020202030204" pitchFamily="34" charset="0"/>
              </a:rPr>
              <a:t>MAN Predictive </a:t>
            </a:r>
            <a:r>
              <a:rPr lang="en-US" sz="4000" b="1" dirty="0">
                <a:solidFill>
                  <a:srgbClr val="E40045"/>
                </a:solidFill>
                <a:latin typeface="Arial Narrow" panose="020B0606020202030204" pitchFamily="34" charset="0"/>
              </a:rPr>
              <a:t>Servi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AB4689-2A7E-48B8-98D6-994F9A4CFD1A}"/>
              </a:ext>
            </a:extLst>
          </p:cNvPr>
          <p:cNvSpPr/>
          <p:nvPr/>
        </p:nvSpPr>
        <p:spPr>
          <a:xfrm>
            <a:off x="11277598" y="6076236"/>
            <a:ext cx="914401" cy="47784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4" descr="Bildergebnis für MAN logo">
            <a:extLst>
              <a:ext uri="{FF2B5EF4-FFF2-40B4-BE49-F238E27FC236}">
                <a16:creationId xmlns:a16="http://schemas.microsoft.com/office/drawing/2014/main" id="{2F2A93E2-BDB0-4875-831C-831AAA49F4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8006" y="6139338"/>
            <a:ext cx="633584" cy="351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981D63-634F-4D03-932D-005DD5AF3A93}"/>
              </a:ext>
            </a:extLst>
          </p:cNvPr>
          <p:cNvSpPr/>
          <p:nvPr/>
        </p:nvSpPr>
        <p:spPr>
          <a:xfrm>
            <a:off x="11277598" y="6076236"/>
            <a:ext cx="45719" cy="477842"/>
          </a:xfrm>
          <a:prstGeom prst="rect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DA4244-BC3E-4A45-ACDA-4EFB51F4247B}"/>
              </a:ext>
            </a:extLst>
          </p:cNvPr>
          <p:cNvSpPr/>
          <p:nvPr/>
        </p:nvSpPr>
        <p:spPr>
          <a:xfrm>
            <a:off x="3999780" y="3996843"/>
            <a:ext cx="784931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a </a:t>
            </a:r>
            <a:r>
              <a:rPr lang="de-DE" sz="2400" b="1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ar predicitive services portfolio </a:t>
            </a:r>
            <a:r>
              <a:rPr lang="de-DE" sz="2400" dirty="0">
                <a:solidFill>
                  <a:srgbClr val="E40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improves itself through machine learning technologies, increasing fleet uptime and fleet management efficiency for MAN customers. </a:t>
            </a:r>
            <a:endParaRPr lang="en-US" sz="2400" dirty="0">
              <a:solidFill>
                <a:srgbClr val="E400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EFA3B3-42F0-408A-8511-D19130BEB573}"/>
              </a:ext>
            </a:extLst>
          </p:cNvPr>
          <p:cNvSpPr/>
          <p:nvPr/>
        </p:nvSpPr>
        <p:spPr>
          <a:xfrm>
            <a:off x="1465460" y="3379576"/>
            <a:ext cx="9857857" cy="2276945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109">
            <a:extLst>
              <a:ext uri="{FF2B5EF4-FFF2-40B4-BE49-F238E27FC236}">
                <a16:creationId xmlns:a16="http://schemas.microsoft.com/office/drawing/2014/main" id="{636636EB-5D32-4650-B790-39BFE2BC9D3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06906" y="3801355"/>
            <a:ext cx="2070100" cy="2065024"/>
            <a:chOff x="2412" y="1730"/>
            <a:chExt cx="408" cy="407"/>
          </a:xfrm>
          <a:solidFill>
            <a:srgbClr val="E40045"/>
          </a:solidFill>
        </p:grpSpPr>
        <p:sp>
          <p:nvSpPr>
            <p:cNvPr id="12" name="Freeform 110">
              <a:extLst>
                <a:ext uri="{FF2B5EF4-FFF2-40B4-BE49-F238E27FC236}">
                  <a16:creationId xmlns:a16="http://schemas.microsoft.com/office/drawing/2014/main" id="{288AADE8-C8DA-4E13-A193-3DB45F6308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" y="1730"/>
              <a:ext cx="319" cy="320"/>
            </a:xfrm>
            <a:custGeom>
              <a:avLst/>
              <a:gdLst>
                <a:gd name="T0" fmla="*/ 49 w 216"/>
                <a:gd name="T1" fmla="*/ 216 h 216"/>
                <a:gd name="T2" fmla="*/ 49 w 216"/>
                <a:gd name="T3" fmla="*/ 216 h 216"/>
                <a:gd name="T4" fmla="*/ 44 w 216"/>
                <a:gd name="T5" fmla="*/ 214 h 216"/>
                <a:gd name="T6" fmla="*/ 2 w 216"/>
                <a:gd name="T7" fmla="*/ 172 h 216"/>
                <a:gd name="T8" fmla="*/ 2 w 216"/>
                <a:gd name="T9" fmla="*/ 163 h 216"/>
                <a:gd name="T10" fmla="*/ 142 w 216"/>
                <a:gd name="T11" fmla="*/ 23 h 216"/>
                <a:gd name="T12" fmla="*/ 209 w 216"/>
                <a:gd name="T13" fmla="*/ 0 h 216"/>
                <a:gd name="T14" fmla="*/ 214 w 216"/>
                <a:gd name="T15" fmla="*/ 2 h 216"/>
                <a:gd name="T16" fmla="*/ 216 w 216"/>
                <a:gd name="T17" fmla="*/ 7 h 216"/>
                <a:gd name="T18" fmla="*/ 193 w 216"/>
                <a:gd name="T19" fmla="*/ 74 h 216"/>
                <a:gd name="T20" fmla="*/ 53 w 216"/>
                <a:gd name="T21" fmla="*/ 214 h 216"/>
                <a:gd name="T22" fmla="*/ 49 w 216"/>
                <a:gd name="T23" fmla="*/ 216 h 216"/>
                <a:gd name="T24" fmla="*/ 15 w 216"/>
                <a:gd name="T25" fmla="*/ 168 h 216"/>
                <a:gd name="T26" fmla="*/ 49 w 216"/>
                <a:gd name="T27" fmla="*/ 201 h 216"/>
                <a:gd name="T28" fmla="*/ 184 w 216"/>
                <a:gd name="T29" fmla="*/ 66 h 216"/>
                <a:gd name="T30" fmla="*/ 202 w 216"/>
                <a:gd name="T31" fmla="*/ 14 h 216"/>
                <a:gd name="T32" fmla="*/ 151 w 216"/>
                <a:gd name="T33" fmla="*/ 32 h 216"/>
                <a:gd name="T34" fmla="*/ 15 w 216"/>
                <a:gd name="T35" fmla="*/ 16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6" h="216">
                  <a:moveTo>
                    <a:pt x="49" y="216"/>
                  </a:moveTo>
                  <a:cubicBezTo>
                    <a:pt x="49" y="216"/>
                    <a:pt x="49" y="216"/>
                    <a:pt x="49" y="216"/>
                  </a:cubicBezTo>
                  <a:cubicBezTo>
                    <a:pt x="47" y="216"/>
                    <a:pt x="46" y="215"/>
                    <a:pt x="44" y="214"/>
                  </a:cubicBezTo>
                  <a:cubicBezTo>
                    <a:pt x="2" y="172"/>
                    <a:pt x="2" y="172"/>
                    <a:pt x="2" y="172"/>
                  </a:cubicBezTo>
                  <a:cubicBezTo>
                    <a:pt x="0" y="170"/>
                    <a:pt x="0" y="166"/>
                    <a:pt x="2" y="163"/>
                  </a:cubicBezTo>
                  <a:cubicBezTo>
                    <a:pt x="2" y="163"/>
                    <a:pt x="134" y="32"/>
                    <a:pt x="142" y="23"/>
                  </a:cubicBezTo>
                  <a:cubicBezTo>
                    <a:pt x="156" y="10"/>
                    <a:pt x="204" y="1"/>
                    <a:pt x="209" y="0"/>
                  </a:cubicBezTo>
                  <a:cubicBezTo>
                    <a:pt x="211" y="0"/>
                    <a:pt x="213" y="1"/>
                    <a:pt x="214" y="2"/>
                  </a:cubicBezTo>
                  <a:cubicBezTo>
                    <a:pt x="216" y="3"/>
                    <a:pt x="216" y="5"/>
                    <a:pt x="216" y="7"/>
                  </a:cubicBezTo>
                  <a:cubicBezTo>
                    <a:pt x="215" y="13"/>
                    <a:pt x="207" y="61"/>
                    <a:pt x="193" y="74"/>
                  </a:cubicBezTo>
                  <a:cubicBezTo>
                    <a:pt x="53" y="214"/>
                    <a:pt x="53" y="214"/>
                    <a:pt x="53" y="214"/>
                  </a:cubicBezTo>
                  <a:cubicBezTo>
                    <a:pt x="52" y="215"/>
                    <a:pt x="50" y="216"/>
                    <a:pt x="49" y="216"/>
                  </a:cubicBezTo>
                  <a:close/>
                  <a:moveTo>
                    <a:pt x="15" y="168"/>
                  </a:moveTo>
                  <a:cubicBezTo>
                    <a:pt x="49" y="201"/>
                    <a:pt x="49" y="201"/>
                    <a:pt x="49" y="201"/>
                  </a:cubicBezTo>
                  <a:cubicBezTo>
                    <a:pt x="184" y="66"/>
                    <a:pt x="184" y="66"/>
                    <a:pt x="184" y="66"/>
                  </a:cubicBezTo>
                  <a:cubicBezTo>
                    <a:pt x="192" y="59"/>
                    <a:pt x="199" y="33"/>
                    <a:pt x="202" y="14"/>
                  </a:cubicBezTo>
                  <a:cubicBezTo>
                    <a:pt x="183" y="18"/>
                    <a:pt x="158" y="25"/>
                    <a:pt x="151" y="32"/>
                  </a:cubicBezTo>
                  <a:cubicBezTo>
                    <a:pt x="143" y="39"/>
                    <a:pt x="38" y="145"/>
                    <a:pt x="15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" name="Freeform 111">
              <a:extLst>
                <a:ext uri="{FF2B5EF4-FFF2-40B4-BE49-F238E27FC236}">
                  <a16:creationId xmlns:a16="http://schemas.microsoft.com/office/drawing/2014/main" id="{1337554C-841B-41B2-A1F3-BB2A82998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" y="1943"/>
              <a:ext cx="81" cy="82"/>
            </a:xfrm>
            <a:custGeom>
              <a:avLst/>
              <a:gdLst>
                <a:gd name="T0" fmla="*/ 49 w 55"/>
                <a:gd name="T1" fmla="*/ 55 h 55"/>
                <a:gd name="T2" fmla="*/ 44 w 55"/>
                <a:gd name="T3" fmla="*/ 53 h 55"/>
                <a:gd name="T4" fmla="*/ 2 w 55"/>
                <a:gd name="T5" fmla="*/ 11 h 55"/>
                <a:gd name="T6" fmla="*/ 2 w 55"/>
                <a:gd name="T7" fmla="*/ 2 h 55"/>
                <a:gd name="T8" fmla="*/ 11 w 55"/>
                <a:gd name="T9" fmla="*/ 2 h 55"/>
                <a:gd name="T10" fmla="*/ 53 w 55"/>
                <a:gd name="T11" fmla="*/ 45 h 55"/>
                <a:gd name="T12" fmla="*/ 53 w 55"/>
                <a:gd name="T13" fmla="*/ 53 h 55"/>
                <a:gd name="T14" fmla="*/ 49 w 55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5">
                  <a:moveTo>
                    <a:pt x="49" y="55"/>
                  </a:moveTo>
                  <a:cubicBezTo>
                    <a:pt x="47" y="55"/>
                    <a:pt x="46" y="54"/>
                    <a:pt x="44" y="5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5" y="47"/>
                    <a:pt x="55" y="51"/>
                    <a:pt x="53" y="53"/>
                  </a:cubicBezTo>
                  <a:cubicBezTo>
                    <a:pt x="52" y="54"/>
                    <a:pt x="50" y="55"/>
                    <a:pt x="49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3ACCD85D-2207-473E-980B-22CA29C27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3" y="1937"/>
              <a:ext cx="112" cy="200"/>
            </a:xfrm>
            <a:custGeom>
              <a:avLst/>
              <a:gdLst>
                <a:gd name="T0" fmla="*/ 7 w 76"/>
                <a:gd name="T1" fmla="*/ 135 h 135"/>
                <a:gd name="T2" fmla="*/ 4 w 76"/>
                <a:gd name="T3" fmla="*/ 135 h 135"/>
                <a:gd name="T4" fmla="*/ 1 w 76"/>
                <a:gd name="T5" fmla="*/ 129 h 135"/>
                <a:gd name="T6" fmla="*/ 9 w 76"/>
                <a:gd name="T7" fmla="*/ 61 h 135"/>
                <a:gd name="T8" fmla="*/ 15 w 76"/>
                <a:gd name="T9" fmla="*/ 56 h 135"/>
                <a:gd name="T10" fmla="*/ 21 w 76"/>
                <a:gd name="T11" fmla="*/ 63 h 135"/>
                <a:gd name="T12" fmla="*/ 15 w 76"/>
                <a:gd name="T13" fmla="*/ 113 h 135"/>
                <a:gd name="T14" fmla="*/ 45 w 76"/>
                <a:gd name="T15" fmla="*/ 83 h 135"/>
                <a:gd name="T16" fmla="*/ 60 w 76"/>
                <a:gd name="T17" fmla="*/ 60 h 135"/>
                <a:gd name="T18" fmla="*/ 64 w 76"/>
                <a:gd name="T19" fmla="*/ 6 h 135"/>
                <a:gd name="T20" fmla="*/ 70 w 76"/>
                <a:gd name="T21" fmla="*/ 0 h 135"/>
                <a:gd name="T22" fmla="*/ 76 w 76"/>
                <a:gd name="T23" fmla="*/ 6 h 135"/>
                <a:gd name="T24" fmla="*/ 72 w 76"/>
                <a:gd name="T25" fmla="*/ 63 h 135"/>
                <a:gd name="T26" fmla="*/ 53 w 76"/>
                <a:gd name="T27" fmla="*/ 91 h 135"/>
                <a:gd name="T28" fmla="*/ 11 w 76"/>
                <a:gd name="T29" fmla="*/ 134 h 135"/>
                <a:gd name="T30" fmla="*/ 7 w 76"/>
                <a:gd name="T3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" h="135">
                  <a:moveTo>
                    <a:pt x="7" y="135"/>
                  </a:moveTo>
                  <a:cubicBezTo>
                    <a:pt x="6" y="135"/>
                    <a:pt x="5" y="135"/>
                    <a:pt x="4" y="135"/>
                  </a:cubicBezTo>
                  <a:cubicBezTo>
                    <a:pt x="2" y="134"/>
                    <a:pt x="0" y="131"/>
                    <a:pt x="1" y="129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58"/>
                    <a:pt x="12" y="56"/>
                    <a:pt x="15" y="56"/>
                  </a:cubicBezTo>
                  <a:cubicBezTo>
                    <a:pt x="19" y="57"/>
                    <a:pt x="21" y="60"/>
                    <a:pt x="21" y="6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50" y="77"/>
                    <a:pt x="58" y="66"/>
                    <a:pt x="60" y="60"/>
                  </a:cubicBezTo>
                  <a:cubicBezTo>
                    <a:pt x="62" y="55"/>
                    <a:pt x="64" y="42"/>
                    <a:pt x="64" y="6"/>
                  </a:cubicBezTo>
                  <a:cubicBezTo>
                    <a:pt x="64" y="3"/>
                    <a:pt x="67" y="0"/>
                    <a:pt x="70" y="0"/>
                  </a:cubicBezTo>
                  <a:cubicBezTo>
                    <a:pt x="74" y="0"/>
                    <a:pt x="76" y="3"/>
                    <a:pt x="76" y="6"/>
                  </a:cubicBezTo>
                  <a:cubicBezTo>
                    <a:pt x="76" y="35"/>
                    <a:pt x="75" y="54"/>
                    <a:pt x="72" y="63"/>
                  </a:cubicBezTo>
                  <a:cubicBezTo>
                    <a:pt x="69" y="73"/>
                    <a:pt x="59" y="86"/>
                    <a:pt x="53" y="91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5"/>
                    <a:pt x="8" y="135"/>
                    <a:pt x="7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5245A70F-1951-4B66-85F6-3824A822E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1875"/>
              <a:ext cx="201" cy="113"/>
            </a:xfrm>
            <a:custGeom>
              <a:avLst/>
              <a:gdLst>
                <a:gd name="T0" fmla="*/ 7 w 136"/>
                <a:gd name="T1" fmla="*/ 76 h 76"/>
                <a:gd name="T2" fmla="*/ 2 w 136"/>
                <a:gd name="T3" fmla="*/ 72 h 76"/>
                <a:gd name="T4" fmla="*/ 3 w 136"/>
                <a:gd name="T5" fmla="*/ 65 h 76"/>
                <a:gd name="T6" fmla="*/ 45 w 136"/>
                <a:gd name="T7" fmla="*/ 23 h 76"/>
                <a:gd name="T8" fmla="*/ 73 w 136"/>
                <a:gd name="T9" fmla="*/ 4 h 76"/>
                <a:gd name="T10" fmla="*/ 128 w 136"/>
                <a:gd name="T11" fmla="*/ 0 h 76"/>
                <a:gd name="T12" fmla="*/ 130 w 136"/>
                <a:gd name="T13" fmla="*/ 0 h 76"/>
                <a:gd name="T14" fmla="*/ 136 w 136"/>
                <a:gd name="T15" fmla="*/ 6 h 76"/>
                <a:gd name="T16" fmla="*/ 130 w 136"/>
                <a:gd name="T17" fmla="*/ 12 h 76"/>
                <a:gd name="T18" fmla="*/ 128 w 136"/>
                <a:gd name="T19" fmla="*/ 12 h 76"/>
                <a:gd name="T20" fmla="*/ 76 w 136"/>
                <a:gd name="T21" fmla="*/ 15 h 76"/>
                <a:gd name="T22" fmla="*/ 54 w 136"/>
                <a:gd name="T23" fmla="*/ 31 h 76"/>
                <a:gd name="T24" fmla="*/ 23 w 136"/>
                <a:gd name="T25" fmla="*/ 61 h 76"/>
                <a:gd name="T26" fmla="*/ 74 w 136"/>
                <a:gd name="T27" fmla="*/ 55 h 76"/>
                <a:gd name="T28" fmla="*/ 81 w 136"/>
                <a:gd name="T29" fmla="*/ 61 h 76"/>
                <a:gd name="T30" fmla="*/ 75 w 136"/>
                <a:gd name="T31" fmla="*/ 67 h 76"/>
                <a:gd name="T32" fmla="*/ 8 w 136"/>
                <a:gd name="T33" fmla="*/ 76 h 76"/>
                <a:gd name="T34" fmla="*/ 7 w 136"/>
                <a:gd name="T3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76">
                  <a:moveTo>
                    <a:pt x="7" y="76"/>
                  </a:moveTo>
                  <a:cubicBezTo>
                    <a:pt x="5" y="76"/>
                    <a:pt x="3" y="74"/>
                    <a:pt x="2" y="72"/>
                  </a:cubicBezTo>
                  <a:cubicBezTo>
                    <a:pt x="0" y="70"/>
                    <a:pt x="1" y="67"/>
                    <a:pt x="3" y="65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51" y="17"/>
                    <a:pt x="63" y="7"/>
                    <a:pt x="73" y="4"/>
                  </a:cubicBezTo>
                  <a:cubicBezTo>
                    <a:pt x="84" y="0"/>
                    <a:pt x="110" y="0"/>
                    <a:pt x="128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3" y="0"/>
                    <a:pt x="136" y="3"/>
                    <a:pt x="136" y="6"/>
                  </a:cubicBezTo>
                  <a:cubicBezTo>
                    <a:pt x="136" y="9"/>
                    <a:pt x="133" y="12"/>
                    <a:pt x="130" y="1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01" y="12"/>
                    <a:pt x="84" y="13"/>
                    <a:pt x="76" y="15"/>
                  </a:cubicBezTo>
                  <a:cubicBezTo>
                    <a:pt x="70" y="18"/>
                    <a:pt x="60" y="25"/>
                    <a:pt x="54" y="31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7" y="55"/>
                    <a:pt x="80" y="57"/>
                    <a:pt x="81" y="61"/>
                  </a:cubicBezTo>
                  <a:cubicBezTo>
                    <a:pt x="81" y="64"/>
                    <a:pt x="79" y="67"/>
                    <a:pt x="75" y="67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7" y="76"/>
                    <a:pt x="7" y="76"/>
                    <a:pt x="7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36103167-B748-4E38-8A34-D54882CF4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" y="1995"/>
              <a:ext cx="131" cy="136"/>
            </a:xfrm>
            <a:custGeom>
              <a:avLst/>
              <a:gdLst>
                <a:gd name="T0" fmla="*/ 6 w 89"/>
                <a:gd name="T1" fmla="*/ 92 h 92"/>
                <a:gd name="T2" fmla="*/ 2 w 89"/>
                <a:gd name="T3" fmla="*/ 91 h 92"/>
                <a:gd name="T4" fmla="*/ 0 w 89"/>
                <a:gd name="T5" fmla="*/ 85 h 92"/>
                <a:gd name="T6" fmla="*/ 27 w 89"/>
                <a:gd name="T7" fmla="*/ 14 h 92"/>
                <a:gd name="T8" fmla="*/ 66 w 89"/>
                <a:gd name="T9" fmla="*/ 10 h 92"/>
                <a:gd name="T10" fmla="*/ 66 w 89"/>
                <a:gd name="T11" fmla="*/ 18 h 92"/>
                <a:gd name="T12" fmla="*/ 57 w 89"/>
                <a:gd name="T13" fmla="*/ 18 h 92"/>
                <a:gd name="T14" fmla="*/ 36 w 89"/>
                <a:gd name="T15" fmla="*/ 22 h 92"/>
                <a:gd name="T16" fmla="*/ 15 w 89"/>
                <a:gd name="T17" fmla="*/ 78 h 92"/>
                <a:gd name="T18" fmla="*/ 70 w 89"/>
                <a:gd name="T19" fmla="*/ 56 h 92"/>
                <a:gd name="T20" fmla="*/ 77 w 89"/>
                <a:gd name="T21" fmla="*/ 42 h 92"/>
                <a:gd name="T22" fmla="*/ 74 w 89"/>
                <a:gd name="T23" fmla="*/ 35 h 92"/>
                <a:gd name="T24" fmla="*/ 74 w 89"/>
                <a:gd name="T25" fmla="*/ 27 h 92"/>
                <a:gd name="T26" fmla="*/ 83 w 89"/>
                <a:gd name="T27" fmla="*/ 27 h 92"/>
                <a:gd name="T28" fmla="*/ 89 w 89"/>
                <a:gd name="T29" fmla="*/ 42 h 92"/>
                <a:gd name="T30" fmla="*/ 78 w 89"/>
                <a:gd name="T31" fmla="*/ 65 h 92"/>
                <a:gd name="T32" fmla="*/ 8 w 89"/>
                <a:gd name="T33" fmla="*/ 92 h 92"/>
                <a:gd name="T34" fmla="*/ 6 w 89"/>
                <a:gd name="T3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" h="92">
                  <a:moveTo>
                    <a:pt x="6" y="92"/>
                  </a:moveTo>
                  <a:cubicBezTo>
                    <a:pt x="5" y="92"/>
                    <a:pt x="3" y="92"/>
                    <a:pt x="2" y="91"/>
                  </a:cubicBezTo>
                  <a:cubicBezTo>
                    <a:pt x="0" y="89"/>
                    <a:pt x="0" y="87"/>
                    <a:pt x="0" y="85"/>
                  </a:cubicBezTo>
                  <a:cubicBezTo>
                    <a:pt x="2" y="79"/>
                    <a:pt x="15" y="27"/>
                    <a:pt x="27" y="14"/>
                  </a:cubicBezTo>
                  <a:cubicBezTo>
                    <a:pt x="40" y="1"/>
                    <a:pt x="55" y="0"/>
                    <a:pt x="66" y="10"/>
                  </a:cubicBezTo>
                  <a:cubicBezTo>
                    <a:pt x="68" y="12"/>
                    <a:pt x="68" y="16"/>
                    <a:pt x="66" y="18"/>
                  </a:cubicBezTo>
                  <a:cubicBezTo>
                    <a:pt x="63" y="21"/>
                    <a:pt x="59" y="21"/>
                    <a:pt x="57" y="18"/>
                  </a:cubicBezTo>
                  <a:cubicBezTo>
                    <a:pt x="49" y="10"/>
                    <a:pt x="38" y="20"/>
                    <a:pt x="36" y="22"/>
                  </a:cubicBezTo>
                  <a:cubicBezTo>
                    <a:pt x="29" y="29"/>
                    <a:pt x="20" y="57"/>
                    <a:pt x="15" y="78"/>
                  </a:cubicBezTo>
                  <a:cubicBezTo>
                    <a:pt x="36" y="72"/>
                    <a:pt x="63" y="63"/>
                    <a:pt x="70" y="56"/>
                  </a:cubicBezTo>
                  <a:cubicBezTo>
                    <a:pt x="74" y="52"/>
                    <a:pt x="77" y="47"/>
                    <a:pt x="77" y="42"/>
                  </a:cubicBezTo>
                  <a:cubicBezTo>
                    <a:pt x="77" y="40"/>
                    <a:pt x="76" y="37"/>
                    <a:pt x="74" y="35"/>
                  </a:cubicBezTo>
                  <a:cubicBezTo>
                    <a:pt x="72" y="33"/>
                    <a:pt x="72" y="29"/>
                    <a:pt x="74" y="27"/>
                  </a:cubicBezTo>
                  <a:cubicBezTo>
                    <a:pt x="76" y="24"/>
                    <a:pt x="80" y="24"/>
                    <a:pt x="83" y="27"/>
                  </a:cubicBezTo>
                  <a:cubicBezTo>
                    <a:pt x="87" y="31"/>
                    <a:pt x="89" y="36"/>
                    <a:pt x="89" y="42"/>
                  </a:cubicBezTo>
                  <a:cubicBezTo>
                    <a:pt x="89" y="50"/>
                    <a:pt x="85" y="58"/>
                    <a:pt x="78" y="65"/>
                  </a:cubicBezTo>
                  <a:cubicBezTo>
                    <a:pt x="66" y="77"/>
                    <a:pt x="14" y="91"/>
                    <a:pt x="8" y="92"/>
                  </a:cubicBezTo>
                  <a:cubicBezTo>
                    <a:pt x="7" y="92"/>
                    <a:pt x="7" y="92"/>
                    <a:pt x="6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</p:spTree>
    <p:extLst>
      <p:ext uri="{BB962C8B-B14F-4D97-AF65-F5344CB8AC3E}">
        <p14:creationId xmlns:p14="http://schemas.microsoft.com/office/powerpoint/2010/main" val="2411214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30&quot; g=&quot;44&quot; b=&quot;49&quot;/&gt;&lt;m_nBrightness endver=&quot;26206&quot; val=&quot;0&quot;/&gt;&lt;/elem&gt;&lt;elem m_fUsage=&quot;9.00000000000000022204E-01&quot;&gt;&lt;m_msothmcolidx val=&quot;0&quot;/&gt;&lt;m_rgb r=&quot;2B&quot; g=&quot;46&quot; b=&quot;44&quot;/&gt;&lt;m_nBrightness endver=&quot;26206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3gpXY.HIyQ1LRx6lcn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DF035B64E4F843B1ECE8836460FB8D" ma:contentTypeVersion="3" ma:contentTypeDescription="Create a new document." ma:contentTypeScope="" ma:versionID="738086c4a0fc93857a867a8e24c30200">
  <xsd:schema xmlns:xsd="http://www.w3.org/2001/XMLSchema" xmlns:xs="http://www.w3.org/2001/XMLSchema" xmlns:p="http://schemas.microsoft.com/office/2006/metadata/properties" xmlns:ns2="ff496130-4f54-44ad-94d7-0c3eac4bfeca" targetNamespace="http://schemas.microsoft.com/office/2006/metadata/properties" ma:root="true" ma:fieldsID="4463879dcf27cb83111cb13156015aef" ns2:_="">
    <xsd:import namespace="ff496130-4f54-44ad-94d7-0c3eac4bfe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496130-4f54-44ad-94d7-0c3eac4bfe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713C910-F8BD-4E88-9F0B-16D3685D8D05}"/>
</file>

<file path=customXml/itemProps2.xml><?xml version="1.0" encoding="utf-8"?>
<ds:datastoreItem xmlns:ds="http://schemas.openxmlformats.org/officeDocument/2006/customXml" ds:itemID="{FCF6C8CE-707E-4790-A0D6-5CC5E26B21CD}"/>
</file>

<file path=customXml/itemProps3.xml><?xml version="1.0" encoding="utf-8"?>
<ds:datastoreItem xmlns:ds="http://schemas.openxmlformats.org/officeDocument/2006/customXml" ds:itemID="{F5AD9DF6-B812-4B13-A747-682FCC44AA60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</Words>
  <Application>Microsoft Office PowerPoint</Application>
  <PresentationFormat>Widescreen</PresentationFormat>
  <Paragraphs>2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07T09:47:57Z</dcterms:created>
  <dcterms:modified xsi:type="dcterms:W3CDTF">2019-12-07T10:2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DF035B64E4F843B1ECE8836460FB8D</vt:lpwstr>
  </property>
</Properties>
</file>